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147471844" r:id="rId5"/>
    <p:sldId id="2147471857" r:id="rId6"/>
    <p:sldId id="2147471856" r:id="rId7"/>
    <p:sldId id="2147471853" r:id="rId8"/>
    <p:sldId id="2147471841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lank slides" id="{3D8F0BE4-B189-B04F-BF54-678D8D66DFFD}">
          <p14:sldIdLst>
            <p14:sldId id="2147471844"/>
            <p14:sldId id="2147471857"/>
            <p14:sldId id="2147471856"/>
            <p14:sldId id="2147471853"/>
            <p14:sldId id="2147471841"/>
          </p14:sldIdLst>
        </p14:section>
        <p14:section name="Icons &amp; assets" id="{3CE1AFC4-AE00-EA49-981B-FA11B712145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90"/>
    <p:restoredTop sz="96240"/>
  </p:normalViewPr>
  <p:slideViewPr>
    <p:cSldViewPr snapToGrid="0">
      <p:cViewPr varScale="1">
        <p:scale>
          <a:sx n="91" d="100"/>
          <a:sy n="91" d="100"/>
        </p:scale>
        <p:origin x="192" y="9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CAFF26-A476-7348-804A-942BBBF2AA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A2DD6C-4FDF-176A-6240-4DD113E5AA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FDA53-C7B6-2041-86F4-C555F222CE37}" type="datetimeFigureOut">
              <a:rPr lang="en-US" smtClean="0"/>
              <a:t>6/2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3A826-0B6A-9A2A-5E92-67FC8E4F1D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F58235-7E35-E20F-7F9F-F03BE47A82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67846-9A10-534A-A6CD-B0978F3C9B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89652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9C7E5-B1A8-7045-8F87-33FF811B62DD}" type="datetimeFigureOut">
              <a:rPr lang="en-US" smtClean="0"/>
              <a:t>6/2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63119-E198-9D4E-BF68-89B650FE36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131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C689B52E-F4B5-F499-6C36-31E5FF7EE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6728" y="346075"/>
            <a:ext cx="3998611" cy="65119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752951-B570-28FF-80D7-D8DBCFDA67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325343" y="4641340"/>
            <a:ext cx="1681966" cy="664193"/>
          </a:xfrm>
          <a:prstGeom prst="rect">
            <a:avLst/>
          </a:prstGeom>
        </p:spPr>
      </p:pic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7D0E683-9619-F96D-3D12-DD1A51B8E0E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14732" y="944137"/>
            <a:ext cx="3337931" cy="5913863"/>
          </a:xfrm>
          <a:prstGeom prst="round2SameRect">
            <a:avLst>
              <a:gd name="adj1" fmla="val 16093"/>
              <a:gd name="adj2" fmla="val 0"/>
            </a:avLst>
          </a:prstGeom>
          <a:solidFill>
            <a:schemeClr val="tx1"/>
          </a:solidFill>
        </p:spPr>
        <p:txBody>
          <a:bodyPr bIns="720000" anchor="ctr" anchorCtr="0">
            <a:normAutofit/>
          </a:bodyPr>
          <a:lstStyle>
            <a:lvl1pPr algn="ctr">
              <a:defRPr sz="800" b="0"/>
            </a:lvl1pPr>
          </a:lstStyle>
          <a:p>
            <a:r>
              <a:rPr lang="en-US" dirty="0"/>
              <a:t>Click on the icon to add in an image in the phone frame</a:t>
            </a:r>
          </a:p>
        </p:txBody>
      </p:sp>
    </p:spTree>
    <p:extLst>
      <p:ext uri="{BB962C8B-B14F-4D97-AF65-F5344CB8AC3E}">
        <p14:creationId xmlns:p14="http://schemas.microsoft.com/office/powerpoint/2010/main" val="1712403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2F2790-C424-CD2C-F728-5AFDB44F04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4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1995B881-375F-9662-10AC-1DEF719A43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6670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08BF477E-BB19-99B7-2241-57890AEF9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2183" y="2158998"/>
            <a:ext cx="3525173" cy="1092200"/>
          </a:xfrm>
        </p:spPr>
        <p:txBody>
          <a:bodyPr wrap="none" bIns="0" anchor="b" anchorCtr="0">
            <a:normAutofit/>
          </a:bodyPr>
          <a:lstStyle>
            <a:lvl1pPr algn="ctr">
              <a:defRPr sz="6600" b="1"/>
            </a:lvl1pPr>
          </a:lstStyle>
          <a:p>
            <a:pPr lvl="0"/>
            <a:r>
              <a:rPr lang="en-GB" dirty="0"/>
              <a:t>000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20056A6-181E-4173-AD4C-33D5EC96AC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64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53D44EB5-A44E-382E-AFE7-A5DA703781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6670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87D28C7D-E5A6-D9B1-BCC2-60AF679FF5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2183" y="3429000"/>
            <a:ext cx="3525837" cy="1817688"/>
          </a:xfrm>
        </p:spPr>
        <p:txBody>
          <a:bodyPr>
            <a:normAutofit/>
          </a:bodyPr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AA4B27F-B1B0-5A51-23F9-33BFAB72E1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6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2F87E4F-7BD1-088D-7B8D-BF5EB54DB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6320" y="2747962"/>
            <a:ext cx="3090272" cy="2120901"/>
          </a:xfrm>
        </p:spPr>
        <p:txBody>
          <a:bodyPr anchor="ctr" anchorCtr="0">
            <a:normAutofit/>
          </a:bodyPr>
          <a:lstStyle>
            <a:lvl1pPr>
              <a:defRPr sz="2400" b="1"/>
            </a:lvl1pPr>
          </a:lstStyle>
          <a:p>
            <a:pPr lvl="0"/>
            <a:r>
              <a:rPr lang="en-GB" dirty="0"/>
              <a:t>Add subtitle here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1C21A34-8C22-E08F-B6C9-1DBFF59FB2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4587" y="1830046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8F42677-42B9-96A0-A29A-B582515CF5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4587" y="3353893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A887FB7E-57DB-D34F-BEBA-1693FD250C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4587" y="4877740"/>
            <a:ext cx="6114421" cy="130081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79391" y="3552634"/>
            <a:ext cx="1295432" cy="511554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447BDA1-3CD4-F8F2-58F4-F690F6B7F1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265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629AF1EE-D1AC-6375-0DD7-B8C9E95AB675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C53FA9C-7382-900B-89D3-9885680B30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F9B6A2-C92E-C97F-8F81-946C778B53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1703125"/>
            <a:ext cx="10524272" cy="568437"/>
          </a:xfrm>
        </p:spPr>
        <p:txBody>
          <a:bodyPr lIns="0" tIns="0" rIns="0" bIns="0"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2735344-F21B-2F9B-073C-E1216421A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914" y="2291227"/>
            <a:ext cx="10524272" cy="3887324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BB62641-0526-AC3B-E088-618401E44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83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C3F429A-52E7-7D4B-7244-533B4ADB98D6}"/>
              </a:ext>
            </a:extLst>
          </p:cNvPr>
          <p:cNvSpPr/>
          <p:nvPr userDrawn="1"/>
        </p:nvSpPr>
        <p:spPr>
          <a:xfrm>
            <a:off x="568327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65564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65564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80239E61-1C09-47E4-00C2-1630456A68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079E388B-4908-796E-F13F-30EB9EDCDE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890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78A8A45-A31E-3D4A-0C3D-912AD6125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2890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F9B1116-2ACB-190E-DF4E-C7D7A99A97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29440" y="2409144"/>
            <a:ext cx="1795529" cy="704578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53A86ED-9628-A95A-4037-E4A6571CB38D}"/>
              </a:ext>
            </a:extLst>
          </p:cNvPr>
          <p:cNvSpPr txBox="1">
            <a:spLocks/>
          </p:cNvSpPr>
          <p:nvPr userDrawn="1"/>
        </p:nvSpPr>
        <p:spPr>
          <a:xfrm>
            <a:off x="6835311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6A18FE8-213B-742F-9622-D79325990A1F}"/>
              </a:ext>
            </a:extLst>
          </p:cNvPr>
          <p:cNvSpPr/>
          <p:nvPr userDrawn="1"/>
        </p:nvSpPr>
        <p:spPr>
          <a:xfrm>
            <a:off x="6835313" y="1438275"/>
            <a:ext cx="4784258" cy="5720808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C2208-0371-00F0-AE94-615079DCF2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876" y="1863668"/>
            <a:ext cx="4075132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8D48C23F-36A4-3512-9E2E-468A4AF976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9876" y="2466962"/>
            <a:ext cx="4075132" cy="371158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169F0B7-E72B-91F0-C62E-AFFC5A1870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937546" y="2409144"/>
            <a:ext cx="1795529" cy="70457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3CB96A2-ECA9-F459-584C-A0D667D930D7}"/>
              </a:ext>
            </a:extLst>
          </p:cNvPr>
          <p:cNvGrpSpPr/>
          <p:nvPr userDrawn="1"/>
        </p:nvGrpSpPr>
        <p:grpSpPr>
          <a:xfrm rot="16200000" flipH="1">
            <a:off x="5697687" y="2146532"/>
            <a:ext cx="839685" cy="219460"/>
            <a:chOff x="4782046" y="4025299"/>
            <a:chExt cx="1163851" cy="304184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29E8B40-9990-54BF-9D6B-4DC4956FA46C}"/>
                </a:ext>
              </a:extLst>
            </p:cNvPr>
            <p:cNvSpPr/>
            <p:nvPr/>
          </p:nvSpPr>
          <p:spPr>
            <a:xfrm rot="16200000" flipH="1">
              <a:off x="5234346" y="3617931"/>
              <a:ext cx="304184" cy="1118919"/>
            </a:xfrm>
            <a:custGeom>
              <a:avLst/>
              <a:gdLst>
                <a:gd name="connsiteX0" fmla="*/ 0 w 2430684"/>
                <a:gd name="connsiteY0" fmla="*/ 0 h 4861367"/>
                <a:gd name="connsiteX1" fmla="*/ 2430684 w 2430684"/>
                <a:gd name="connsiteY1" fmla="*/ 2442258 h 4861367"/>
                <a:gd name="connsiteX2" fmla="*/ 23149 w 2430684"/>
                <a:gd name="connsiteY2" fmla="*/ 4861367 h 486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0684" h="4861367">
                  <a:moveTo>
                    <a:pt x="0" y="0"/>
                  </a:moveTo>
                  <a:lnTo>
                    <a:pt x="2430684" y="2442258"/>
                  </a:lnTo>
                  <a:lnTo>
                    <a:pt x="23149" y="4861367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DCEA638-1A6F-2498-2760-8D119680B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78241">
              <a:off x="4782046" y="4042685"/>
              <a:ext cx="682237" cy="269409"/>
            </a:xfrm>
            <a:prstGeom prst="rect">
              <a:avLst/>
            </a:prstGeom>
          </p:spPr>
        </p:pic>
      </p:grp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7A07131-4BCB-E7D4-EABC-E0EACE5871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142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438274"/>
            <a:ext cx="4348726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78438" y="1605986"/>
            <a:ext cx="6316662" cy="4404852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6287589" y="274137"/>
            <a:ext cx="4740275" cy="7068550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6634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4348726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9F94A32-C850-0A30-6529-E7D488080B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476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899" y="1438274"/>
            <a:ext cx="7760517" cy="603294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47FF00F-51E0-ADF5-77A0-97D715C2EA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78722" y="1605986"/>
            <a:ext cx="3413278" cy="4404852"/>
          </a:xfrm>
          <a:custGeom>
            <a:avLst/>
            <a:gdLst>
              <a:gd name="connsiteX0" fmla="*/ 265480 w 3413278"/>
              <a:gd name="connsiteY0" fmla="*/ 0 h 4404852"/>
              <a:gd name="connsiteX1" fmla="*/ 3413278 w 3413278"/>
              <a:gd name="connsiteY1" fmla="*/ 0 h 4404852"/>
              <a:gd name="connsiteX2" fmla="*/ 3413278 w 3413278"/>
              <a:gd name="connsiteY2" fmla="*/ 4404852 h 4404852"/>
              <a:gd name="connsiteX3" fmla="*/ 265480 w 3413278"/>
              <a:gd name="connsiteY3" fmla="*/ 4404852 h 4404852"/>
              <a:gd name="connsiteX4" fmla="*/ 0 w 3413278"/>
              <a:gd name="connsiteY4" fmla="*/ 4139372 h 4404852"/>
              <a:gd name="connsiteX5" fmla="*/ 0 w 3413278"/>
              <a:gd name="connsiteY5" fmla="*/ 265480 h 4404852"/>
              <a:gd name="connsiteX6" fmla="*/ 265480 w 3413278"/>
              <a:gd name="connsiteY6" fmla="*/ 0 h 4404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3278" h="4404852">
                <a:moveTo>
                  <a:pt x="265480" y="0"/>
                </a:moveTo>
                <a:lnTo>
                  <a:pt x="3413278" y="0"/>
                </a:lnTo>
                <a:lnTo>
                  <a:pt x="3413278" y="4404852"/>
                </a:lnTo>
                <a:lnTo>
                  <a:pt x="265480" y="4404852"/>
                </a:lnTo>
                <a:cubicBezTo>
                  <a:pt x="118859" y="4404852"/>
                  <a:pt x="0" y="4285993"/>
                  <a:pt x="0" y="4139372"/>
                </a:cubicBezTo>
                <a:lnTo>
                  <a:pt x="0" y="265480"/>
                </a:lnTo>
                <a:cubicBezTo>
                  <a:pt x="0" y="118859"/>
                  <a:pt x="118859" y="0"/>
                  <a:pt x="26548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bIns="900000" anchor="ctr" anchorCtr="0">
            <a:no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A824A544-8915-16F3-1008-663FC6698D1A}"/>
              </a:ext>
            </a:extLst>
          </p:cNvPr>
          <p:cNvSpPr/>
          <p:nvPr userDrawn="1"/>
        </p:nvSpPr>
        <p:spPr>
          <a:xfrm rot="5400000" flipH="1">
            <a:off x="8039497" y="2022513"/>
            <a:ext cx="4740275" cy="3571799"/>
          </a:xfrm>
          <a:custGeom>
            <a:avLst/>
            <a:gdLst>
              <a:gd name="connsiteX0" fmla="*/ 4740275 w 4740275"/>
              <a:gd name="connsiteY0" fmla="*/ 3183477 h 3571799"/>
              <a:gd name="connsiteX1" fmla="*/ 4740275 w 4740275"/>
              <a:gd name="connsiteY1" fmla="*/ 0 h 3571799"/>
              <a:gd name="connsiteX2" fmla="*/ 0 w 4740275"/>
              <a:gd name="connsiteY2" fmla="*/ 0 h 3571799"/>
              <a:gd name="connsiteX3" fmla="*/ 0 w 4740275"/>
              <a:gd name="connsiteY3" fmla="*/ 3183477 h 3571799"/>
              <a:gd name="connsiteX4" fmla="*/ 388323 w 4740275"/>
              <a:gd name="connsiteY4" fmla="*/ 3571799 h 3571799"/>
              <a:gd name="connsiteX5" fmla="*/ 4351952 w 4740275"/>
              <a:gd name="connsiteY5" fmla="*/ 3571799 h 3571799"/>
              <a:gd name="connsiteX6" fmla="*/ 4740275 w 4740275"/>
              <a:gd name="connsiteY6" fmla="*/ 3183477 h 357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40275" h="3571799">
                <a:moveTo>
                  <a:pt x="4740275" y="3183477"/>
                </a:moveTo>
                <a:lnTo>
                  <a:pt x="4740275" y="0"/>
                </a:lnTo>
                <a:lnTo>
                  <a:pt x="0" y="0"/>
                </a:lnTo>
                <a:lnTo>
                  <a:pt x="0" y="3183477"/>
                </a:lnTo>
                <a:cubicBezTo>
                  <a:pt x="0" y="3397941"/>
                  <a:pt x="173858" y="3571799"/>
                  <a:pt x="388323" y="3571799"/>
                </a:cubicBezTo>
                <a:lnTo>
                  <a:pt x="4351952" y="3571799"/>
                </a:lnTo>
                <a:cubicBezTo>
                  <a:pt x="4566417" y="3571799"/>
                  <a:pt x="4740275" y="3397941"/>
                  <a:pt x="4740275" y="3183477"/>
                </a:cubicBezTo>
                <a:close/>
              </a:path>
            </a:pathLst>
          </a:cu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6918" y="1182498"/>
            <a:ext cx="1295432" cy="511554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901" y="2041568"/>
            <a:ext cx="7760518" cy="4136982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44909BD-7E77-C04E-7991-ABC700FBDD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91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E4A41E48-60DE-B173-AE35-D6056054D53E}"/>
              </a:ext>
            </a:extLst>
          </p:cNvPr>
          <p:cNvSpPr/>
          <p:nvPr userDrawn="1"/>
        </p:nvSpPr>
        <p:spPr>
          <a:xfrm>
            <a:off x="568327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197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197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42EDE7AB-04D5-814E-7EFA-ACED482A74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9330" y="2022788"/>
            <a:ext cx="1795529" cy="704578"/>
          </a:xfrm>
          <a:prstGeom prst="rect">
            <a:avLst/>
          </a:prstGeom>
        </p:spPr>
      </p:pic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9C6C2241-B942-ECB5-0E6A-2D7698D6A8F0}"/>
              </a:ext>
            </a:extLst>
          </p:cNvPr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843197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3F340999-69AD-DB60-A16F-21FA2E6696FC}"/>
              </a:ext>
            </a:extLst>
          </p:cNvPr>
          <p:cNvSpPr/>
          <p:nvPr userDrawn="1"/>
        </p:nvSpPr>
        <p:spPr>
          <a:xfrm>
            <a:off x="4342163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F2F5517F-AB01-20C2-CCB2-0C88A4F3CD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17033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3C950159-F83D-50A3-3F6E-DFF10724D0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17033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0F42CCB2-C8A8-0C2C-4891-7002B7CCE6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3166" y="2022788"/>
            <a:ext cx="1795529" cy="704578"/>
          </a:xfrm>
          <a:prstGeom prst="rect">
            <a:avLst/>
          </a:prstGeom>
        </p:spPr>
      </p:pic>
      <p:sp>
        <p:nvSpPr>
          <p:cNvPr id="94" name="Picture Placeholder 76">
            <a:extLst>
              <a:ext uri="{FF2B5EF4-FFF2-40B4-BE49-F238E27FC236}">
                <a16:creationId xmlns:a16="http://schemas.microsoft.com/office/drawing/2014/main" id="{823094DA-013A-ABF1-F8B8-7563EA59A5C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617033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C8E7BE84-4700-DDF6-F7A5-BEAAB0C36012}"/>
              </a:ext>
            </a:extLst>
          </p:cNvPr>
          <p:cNvSpPr/>
          <p:nvPr userDrawn="1"/>
        </p:nvSpPr>
        <p:spPr>
          <a:xfrm>
            <a:off x="8116000" y="2373923"/>
            <a:ext cx="3479100" cy="3804627"/>
          </a:xfrm>
          <a:prstGeom prst="roundRect">
            <a:avLst>
              <a:gd name="adj" fmla="val 8192"/>
            </a:avLst>
          </a:prstGeom>
          <a:gradFill>
            <a:gsLst>
              <a:gs pos="99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7A7974EB-99F2-1A2D-D586-EF2FC603A9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90870" y="3294018"/>
            <a:ext cx="2929359" cy="603294"/>
          </a:xfrm>
        </p:spPr>
        <p:txBody>
          <a:bodyPr anchor="ctr" anchorCtr="0">
            <a:normAutofit/>
          </a:bodyPr>
          <a:lstStyle>
            <a:lvl1pPr algn="l">
              <a:defRPr sz="1800"/>
            </a:lvl1pPr>
          </a:lstStyle>
          <a:p>
            <a:pPr lvl="0"/>
            <a:r>
              <a:rPr lang="en-GB" dirty="0"/>
              <a:t>Add short title here</a:t>
            </a: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9BDDC9BB-336E-BFDB-16AC-F370AEA95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90870" y="3897312"/>
            <a:ext cx="2929359" cy="2281238"/>
          </a:xfrm>
        </p:spPr>
        <p:txBody>
          <a:bodyPr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38FBB97-E815-1419-E5E9-A07D531345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7003" y="2022788"/>
            <a:ext cx="1795529" cy="704578"/>
          </a:xfrm>
          <a:prstGeom prst="rect">
            <a:avLst/>
          </a:prstGeom>
        </p:spPr>
      </p:pic>
      <p:sp>
        <p:nvSpPr>
          <p:cNvPr id="99" name="Picture Placeholder 76">
            <a:extLst>
              <a:ext uri="{FF2B5EF4-FFF2-40B4-BE49-F238E27FC236}">
                <a16:creationId xmlns:a16="http://schemas.microsoft.com/office/drawing/2014/main" id="{27C163F9-3CFD-68EE-E982-EDA860633A6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90870" y="1692320"/>
            <a:ext cx="1423898" cy="1423898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rgbClr val="53FF9B"/>
            </a:solidFill>
            <a:prstDash val="solid"/>
            <a:miter lim="800000"/>
          </a:ln>
          <a:effectLst/>
        </p:spPr>
        <p:txBody>
          <a:bodyPr rtlCol="0" anchor="ctr"/>
          <a:lstStyle>
            <a:lvl1pPr>
              <a:defRPr kumimoji="0" lang="en-US" sz="1800" b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Imag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06D183-50B4-B913-0DD1-C8D62D0E63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794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355837" cy="5413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1A9DFE-7311-D7E4-2127-822AE78559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132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315C9AD-415F-71F6-46E7-E1CDB6B3A4E5}"/>
              </a:ext>
            </a:extLst>
          </p:cNvPr>
          <p:cNvSpPr/>
          <p:nvPr userDrawn="1"/>
        </p:nvSpPr>
        <p:spPr>
          <a:xfrm rot="5400000" flipH="1">
            <a:off x="2222499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B72A90-9C49-59DF-94C3-4138BAFF08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357" y="1182498"/>
            <a:ext cx="1295432" cy="511554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4372FC5-DF0F-3FD5-7D02-0B3B00E3C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0D92767A-0204-5546-6923-4FF933CB8CB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38060" y="1604430"/>
            <a:ext cx="4990825" cy="2191815"/>
          </a:xfrm>
          <a:prstGeom prst="roundRect">
            <a:avLst>
              <a:gd name="adj" fmla="val 6027"/>
            </a:avLst>
          </a:prstGeom>
          <a:solidFill>
            <a:schemeClr val="tx1"/>
          </a:solidFill>
        </p:spPr>
        <p:txBody>
          <a:bodyPr bIns="900000" anchor="ctr" anchorCtr="0">
            <a:normAutofit/>
          </a:bodyPr>
          <a:lstStyle>
            <a:lvl1pPr algn="ctr">
              <a:defRPr sz="105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on the icon to add in an image in the phone frame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4AA5FBD5-D7E5-7684-15AF-96F381BC0A9D}"/>
              </a:ext>
            </a:extLst>
          </p:cNvPr>
          <p:cNvSpPr/>
          <p:nvPr userDrawn="1"/>
        </p:nvSpPr>
        <p:spPr>
          <a:xfrm rot="5400000" flipH="1">
            <a:off x="8123427" y="-215900"/>
            <a:ext cx="2524125" cy="5832475"/>
          </a:xfrm>
          <a:prstGeom prst="roundRect">
            <a:avLst>
              <a:gd name="adj" fmla="val 8192"/>
            </a:avLst>
          </a:prstGeom>
          <a:noFill/>
          <a:ln w="12700" cap="flat" cmpd="sng" algn="ctr">
            <a:gradFill>
              <a:gsLst>
                <a:gs pos="100000">
                  <a:srgbClr val="53FF9B"/>
                </a:gs>
                <a:gs pos="31000">
                  <a:srgbClr val="53FF9B">
                    <a:alpha val="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F68047B-B650-4BBD-3A24-50787451D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285" y="1182498"/>
            <a:ext cx="1295432" cy="51155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6DE5AF-CAEB-DAC4-55B2-31CD4129C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325" y="4274627"/>
            <a:ext cx="4551130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88CDB72-6DD7-C238-F726-4547A9A15F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6" y="4877921"/>
            <a:ext cx="5159632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B62370D0-895B-94CB-C987-DF0BC3527C45}"/>
              </a:ext>
            </a:extLst>
          </p:cNvPr>
          <p:cNvSpPr/>
          <p:nvPr userDrawn="1"/>
        </p:nvSpPr>
        <p:spPr>
          <a:xfrm rot="5400000">
            <a:off x="5306579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BFAD9B3-31DF-4B58-01EB-C586EDC296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4987129" y="3924534"/>
            <a:ext cx="561829" cy="221861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A32620-BB7A-DF93-E21A-286E6EE8CA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64044" y="4274627"/>
            <a:ext cx="4531955" cy="603294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B41FE18-6D28-50F1-A992-68B8049602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045" y="4877921"/>
            <a:ext cx="5131056" cy="1300629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51CAF205-7111-0FBF-F3FF-9EE683F33D39}"/>
              </a:ext>
            </a:extLst>
          </p:cNvPr>
          <p:cNvSpPr/>
          <p:nvPr userDrawn="1"/>
        </p:nvSpPr>
        <p:spPr>
          <a:xfrm rot="5400000">
            <a:off x="11183123" y="3735913"/>
            <a:ext cx="229046" cy="603294"/>
          </a:xfrm>
          <a:custGeom>
            <a:avLst/>
            <a:gdLst>
              <a:gd name="connsiteX0" fmla="*/ 0 w 2430684"/>
              <a:gd name="connsiteY0" fmla="*/ 0 h 4861367"/>
              <a:gd name="connsiteX1" fmla="*/ 2430684 w 2430684"/>
              <a:gd name="connsiteY1" fmla="*/ 2442258 h 4861367"/>
              <a:gd name="connsiteX2" fmla="*/ 23149 w 2430684"/>
              <a:gd name="connsiteY2" fmla="*/ 4861367 h 4861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684" h="4861367">
                <a:moveTo>
                  <a:pt x="0" y="0"/>
                </a:moveTo>
                <a:lnTo>
                  <a:pt x="2430684" y="2442258"/>
                </a:lnTo>
                <a:lnTo>
                  <a:pt x="23149" y="4861367"/>
                </a:lnTo>
              </a:path>
            </a:pathLst>
          </a:custGeom>
          <a:noFill/>
          <a:ln w="9525" cap="rnd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90A5B41-9BDB-0296-1D0C-C576E936AA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89253">
            <a:off x="10853663" y="3916077"/>
            <a:ext cx="561829" cy="221861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0054A8D-DCB2-116A-A196-7DC1CC53C7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7" y="6356350"/>
            <a:ext cx="7789090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247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A5FDE2B-BCB1-1AC9-DFF7-6A14E177CA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4726" y="2645796"/>
            <a:ext cx="1645194" cy="3035976"/>
          </a:xfrm>
          <a:prstGeom prst="rect">
            <a:avLst/>
          </a:prstGeom>
        </p:spPr>
      </p:pic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3EFB0B6-A17F-27CD-3AB1-C2BA56E0F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9511" y="1694052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98A0BC8-C989-24E2-ACF7-D879AB8CD4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19511" y="3217899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36B9CB7A-16ED-AF93-7673-D7188C7E68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19511" y="4741746"/>
            <a:ext cx="5777178" cy="1196320"/>
          </a:xfrm>
        </p:spPr>
        <p:txBody>
          <a:bodyPr tIns="72000" bIns="7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D51A1A-53BF-18CB-0DE4-3CA9C2502BC5}"/>
              </a:ext>
            </a:extLst>
          </p:cNvPr>
          <p:cNvGrpSpPr/>
          <p:nvPr userDrawn="1"/>
        </p:nvGrpSpPr>
        <p:grpSpPr>
          <a:xfrm>
            <a:off x="5622351" y="2798893"/>
            <a:ext cx="6297836" cy="511554"/>
            <a:chOff x="423392" y="2983348"/>
            <a:chExt cx="6297836" cy="511554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170AF9-7BD2-BB4C-804B-FD8AACEAA2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6A89B04-1DFB-BB65-7387-387750F3D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5622351" y="4322893"/>
            <a:ext cx="6297836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300428A-C2A1-982E-7AD1-32E89E3D9D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22335" y="6356350"/>
            <a:ext cx="4497479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380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2891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0796098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42154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69DCB2D-F5A5-8B7C-ECEB-097DC525FDE3}"/>
              </a:ext>
            </a:extLst>
          </p:cNvPr>
          <p:cNvGrpSpPr/>
          <p:nvPr userDrawn="1"/>
        </p:nvGrpSpPr>
        <p:grpSpPr>
          <a:xfrm>
            <a:off x="-179291" y="5276250"/>
            <a:ext cx="8333983" cy="511554"/>
            <a:chOff x="423392" y="2983348"/>
            <a:chExt cx="6297836" cy="511554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074BAB1-4381-9800-D2EA-178A08D0E4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228" y="3239125"/>
              <a:ext cx="6156000" cy="0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53B2AEB-706C-EF62-7B29-F0A131BAA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2995843-3A7A-ABAC-38B6-DE89BBF6DB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674C215-B237-A985-6E13-2C79783706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841EA15-1E97-BF5F-7C0E-2734FC56AA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783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58843183-5923-C50D-1D79-2163AFD52F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83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297DBBC-8CC4-DAED-7816-D1C73A7F6D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69158" y="1721224"/>
            <a:ext cx="2083924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8F8CAEAF-469A-5641-E5F6-E1245A7B3D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9158" y="2638125"/>
            <a:ext cx="2083924" cy="263811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98A1F55-557B-1256-9308-1B683BB6A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7" y="6356350"/>
            <a:ext cx="7284755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904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13964-C019-F547-9CA9-1D83E3422C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325" y="1438275"/>
            <a:ext cx="6468095" cy="2166026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 dirty="0"/>
              <a:t>Add presentation title her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0CEF30-5D62-FDDA-E107-328B453B4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25" y="3626879"/>
            <a:ext cx="6468095" cy="105947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 descr="A green and white logo&#10;&#10;Description automatically generated">
            <a:extLst>
              <a:ext uri="{FF2B5EF4-FFF2-40B4-BE49-F238E27FC236}">
                <a16:creationId xmlns:a16="http://schemas.microsoft.com/office/drawing/2014/main" id="{00554942-6B65-F928-2194-03E37E7F34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BF527EA3-E187-D9F3-3081-E8836FA46F5D}"/>
              </a:ext>
            </a:extLst>
          </p:cNvPr>
          <p:cNvGrpSpPr/>
          <p:nvPr userDrawn="1"/>
        </p:nvGrpSpPr>
        <p:grpSpPr>
          <a:xfrm>
            <a:off x="6015992" y="-312938"/>
            <a:ext cx="6835727" cy="7682593"/>
            <a:chOff x="6015992" y="-312938"/>
            <a:chExt cx="6835727" cy="7682593"/>
          </a:xfrm>
        </p:grpSpPr>
        <p:pic>
          <p:nvPicPr>
            <p:cNvPr id="29" name="Picture 28" descr="A cell phone with a screen showing the time and time&#10;&#10;Description automatically generated with medium confidence">
              <a:extLst>
                <a:ext uri="{FF2B5EF4-FFF2-40B4-BE49-F238E27FC236}">
                  <a16:creationId xmlns:a16="http://schemas.microsoft.com/office/drawing/2014/main" id="{EE46E980-25B3-03AE-01C8-633D3CCCF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755747">
              <a:off x="6015992" y="-312938"/>
              <a:ext cx="6835727" cy="7682593"/>
            </a:xfrm>
            <a:custGeom>
              <a:avLst/>
              <a:gdLst>
                <a:gd name="connsiteX0" fmla="*/ 0 w 6835727"/>
                <a:gd name="connsiteY0" fmla="*/ 989646 h 7682593"/>
                <a:gd name="connsiteX1" fmla="*/ 4428954 w 6835727"/>
                <a:gd name="connsiteY1" fmla="*/ 0 h 7682593"/>
                <a:gd name="connsiteX2" fmla="*/ 5385691 w 6835727"/>
                <a:gd name="connsiteY2" fmla="*/ 0 h 7682593"/>
                <a:gd name="connsiteX3" fmla="*/ 6835727 w 6835727"/>
                <a:gd name="connsiteY3" fmla="*/ 6489332 h 7682593"/>
                <a:gd name="connsiteX4" fmla="*/ 1495534 w 6835727"/>
                <a:gd name="connsiteY4" fmla="*/ 7682593 h 768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5727" h="7682593">
                  <a:moveTo>
                    <a:pt x="0" y="989646"/>
                  </a:moveTo>
                  <a:lnTo>
                    <a:pt x="4428954" y="0"/>
                  </a:lnTo>
                  <a:lnTo>
                    <a:pt x="5385691" y="0"/>
                  </a:lnTo>
                  <a:lnTo>
                    <a:pt x="6835727" y="6489332"/>
                  </a:lnTo>
                  <a:lnTo>
                    <a:pt x="1495534" y="7682593"/>
                  </a:lnTo>
                  <a:close/>
                </a:path>
              </a:pathLst>
            </a:cu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83FFEFB-CA53-6823-1F3A-4ED9C36FF6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6204336">
              <a:off x="7161924" y="4365085"/>
              <a:ext cx="1568685" cy="6194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24197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pic>
        <p:nvPicPr>
          <p:cNvPr id="20" name="Picture 19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B64265B-6CFA-F5B8-1031-794A9333A5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412"/>
          <a:stretch/>
        </p:blipFill>
        <p:spPr>
          <a:xfrm>
            <a:off x="0" y="921581"/>
            <a:ext cx="7356581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08FB64F-7BAC-963C-506B-9738B6473B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59507" y="1934224"/>
            <a:ext cx="4135593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ABEE995B-BEA9-248C-8744-BEB877FBCD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9507" y="2860695"/>
            <a:ext cx="4135593" cy="331785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D3EA0F8-C9FD-105C-CFB4-B4263EBD5F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510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ne 4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6604ED46-73F3-153B-DAE6-8F9FD227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431" r="-10965"/>
          <a:stretch/>
        </p:blipFill>
        <p:spPr>
          <a:xfrm rot="10800000">
            <a:off x="0" y="374696"/>
            <a:ext cx="10039970" cy="6483689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74C623C-2897-F24D-CB4C-744679D26F56}"/>
              </a:ext>
            </a:extLst>
          </p:cNvPr>
          <p:cNvSpPr/>
          <p:nvPr userDrawn="1"/>
        </p:nvSpPr>
        <p:spPr>
          <a:xfrm rot="5400000" flipH="1">
            <a:off x="7384234" y="1774029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7CA82938-7756-52EC-8B73-74259D4B9067}"/>
              </a:ext>
            </a:extLst>
          </p:cNvPr>
          <p:cNvSpPr/>
          <p:nvPr userDrawn="1"/>
        </p:nvSpPr>
        <p:spPr>
          <a:xfrm rot="5400000" flipH="1">
            <a:off x="7384234" y="314506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5D48AE3-3B4F-82BA-09A8-FBFEB5ECB3E1}"/>
              </a:ext>
            </a:extLst>
          </p:cNvPr>
          <p:cNvSpPr/>
          <p:nvPr userDrawn="1"/>
        </p:nvSpPr>
        <p:spPr>
          <a:xfrm rot="5400000" flipH="1">
            <a:off x="7384233" y="-1130134"/>
            <a:ext cx="1082985" cy="7370380"/>
          </a:xfrm>
          <a:prstGeom prst="roundRect">
            <a:avLst>
              <a:gd name="adj" fmla="val 50000"/>
            </a:avLst>
          </a:prstGeom>
          <a:gradFill>
            <a:gsLst>
              <a:gs pos="6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55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DE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9" name="Picture 18" descr="A bright green light in the dark&#10;&#10;Description automatically generated">
            <a:extLst>
              <a:ext uri="{FF2B5EF4-FFF2-40B4-BE49-F238E27FC236}">
                <a16:creationId xmlns:a16="http://schemas.microsoft.com/office/drawing/2014/main" id="{04C6979A-6CC2-AA01-2004-C9B228B716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83"/>
          <a:stretch/>
        </p:blipFill>
        <p:spPr>
          <a:xfrm>
            <a:off x="4" y="0"/>
            <a:ext cx="1219199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0287743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83350" y="6356350"/>
            <a:ext cx="3133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906463"/>
            <a:ext cx="10287743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935A1999-2F4F-453A-F15F-1248D2C12D6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pic>
        <p:nvPicPr>
          <p:cNvPr id="14" name="Picture 13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5FD31788-8350-56AB-039C-FA57823B7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049" y="921581"/>
            <a:ext cx="3645225" cy="5936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B012B-67A1-9944-B01C-2913121A53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849256" y="2058943"/>
            <a:ext cx="1681966" cy="664193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36FF5C74-DE25-1D9B-30D6-B8EBFD6377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5312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pic>
        <p:nvPicPr>
          <p:cNvPr id="12" name="Picture 11" descr="A cell phone with a green border&#10;&#10;Description automatically generated">
            <a:extLst>
              <a:ext uri="{FF2B5EF4-FFF2-40B4-BE49-F238E27FC236}">
                <a16:creationId xmlns:a16="http://schemas.microsoft.com/office/drawing/2014/main" id="{8B29B39E-BCBD-0EC7-9DD4-D273C2D3C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312" y="921581"/>
            <a:ext cx="6761269" cy="59364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47B079-E3A7-8E32-6361-398D8A5212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14563" y="2058943"/>
            <a:ext cx="1681966" cy="664193"/>
          </a:xfrm>
          <a:prstGeom prst="rect">
            <a:avLst/>
          </a:prstGeom>
        </p:spPr>
      </p:pic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2733AFE1-642E-19B7-B41D-1FBD419757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60619" y="1474237"/>
            <a:ext cx="3062288" cy="5379094"/>
          </a:xfrm>
          <a:prstGeom prst="round2SameRect">
            <a:avLst>
              <a:gd name="adj1" fmla="val 15851"/>
              <a:gd name="adj2" fmla="val 0"/>
            </a:avLst>
          </a:prstGeom>
          <a:solidFill>
            <a:schemeClr val="tx1"/>
          </a:solidFill>
        </p:spPr>
        <p:txBody>
          <a:bodyPr bIns="936000" anchor="ctr" anchorCtr="0">
            <a:normAutofit/>
          </a:bodyPr>
          <a:lstStyle>
            <a:lvl1pPr algn="ctr">
              <a:defRPr sz="1200" b="0"/>
            </a:lvl1pPr>
          </a:lstStyle>
          <a:p>
            <a:r>
              <a:rPr lang="en-US" dirty="0"/>
              <a:t>Click to add an image into the phone placeholder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4D457A99-2AE7-5282-8B36-07E7A7404D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55571" y="2013177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895B3AE2-3074-9A7C-8BAB-877E547F14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5571" y="3462835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4BF507E-827D-568C-99C0-8B24368F7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55571" y="4934796"/>
            <a:ext cx="3645224" cy="1068489"/>
          </a:xfrm>
        </p:spPr>
        <p:txBody>
          <a:bodyPr anchor="ctr" anchorCtr="0">
            <a:no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0377E8-5D32-4344-893A-4EA40DAA04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59507" y="6356350"/>
            <a:ext cx="3609502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08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568325" y="1438275"/>
            <a:ext cx="11026775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082" y="1191571"/>
            <a:ext cx="1295432" cy="511554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4307789-638C-77AD-BE7A-89D12C9308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3914" y="5419725"/>
            <a:ext cx="2432242" cy="741988"/>
          </a:xfrm>
        </p:spPr>
        <p:txBody>
          <a:bodyPr lIns="0" tIns="0" r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9CCEA5-10A6-CF20-A6E4-5C1B1E8032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12" y="5419725"/>
            <a:ext cx="7579074" cy="741988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807303" y="1703387"/>
            <a:ext cx="10524272" cy="331110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18D7B75-5B78-74D8-876F-255C87385A2D}"/>
              </a:ext>
            </a:extLst>
          </p:cNvPr>
          <p:cNvCxnSpPr>
            <a:cxnSpLocks/>
          </p:cNvCxnSpPr>
          <p:nvPr userDrawn="1"/>
        </p:nvCxnSpPr>
        <p:spPr>
          <a:xfrm flipH="1">
            <a:off x="823914" y="5128797"/>
            <a:ext cx="10772774" cy="0"/>
          </a:xfrm>
          <a:prstGeom prst="line">
            <a:avLst/>
          </a:prstGeom>
          <a:ln w="9525">
            <a:gradFill>
              <a:gsLst>
                <a:gs pos="35000">
                  <a:srgbClr val="48FF9B"/>
                </a:gs>
                <a:gs pos="100000">
                  <a:schemeClr val="accent1">
                    <a:alpha val="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D9DF322-6F30-F83F-ED1B-EAD44DD39D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13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316926" cy="54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025928-B9FD-C7AA-179F-35660991D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6" y="906463"/>
            <a:ext cx="10316926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pic>
        <p:nvPicPr>
          <p:cNvPr id="6" name="Picture 5" descr="A green and white logo&#10;&#10;Description automatically generated">
            <a:extLst>
              <a:ext uri="{FF2B5EF4-FFF2-40B4-BE49-F238E27FC236}">
                <a16:creationId xmlns:a16="http://schemas.microsoft.com/office/drawing/2014/main" id="{8FFC0020-326F-88B8-7F83-305EBDC7E7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EF567FB9-1942-79F5-E824-B23719A08B53}"/>
              </a:ext>
            </a:extLst>
          </p:cNvPr>
          <p:cNvSpPr/>
          <p:nvPr userDrawn="1"/>
        </p:nvSpPr>
        <p:spPr>
          <a:xfrm>
            <a:off x="6096000" y="1438275"/>
            <a:ext cx="5499100" cy="4740275"/>
          </a:xfrm>
          <a:prstGeom prst="round2SameRect">
            <a:avLst>
              <a:gd name="adj1" fmla="val 6118"/>
              <a:gd name="adj2" fmla="val 0"/>
            </a:avLst>
          </a:prstGeom>
          <a:gradFill>
            <a:gsLst>
              <a:gs pos="100000">
                <a:srgbClr val="003457">
                  <a:alpha val="0"/>
                </a:srgbClr>
              </a:gs>
              <a:gs pos="0">
                <a:srgbClr val="003457">
                  <a:alpha val="50000"/>
                </a:srgbClr>
              </a:gs>
            </a:gsLst>
            <a:lin ang="5400000" scaled="1"/>
          </a:gradFill>
          <a:ln w="12700" cap="flat" cmpd="sng" algn="ctr">
            <a:gradFill>
              <a:gsLst>
                <a:gs pos="100000">
                  <a:srgbClr val="53FF9B">
                    <a:alpha val="0"/>
                  </a:srgbClr>
                </a:gs>
                <a:gs pos="0">
                  <a:srgbClr val="48FF9B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2BDB989-9983-70CF-D9EF-E0D8E7C81B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1191571"/>
            <a:ext cx="1295432" cy="511554"/>
          </a:xfrm>
          <a:prstGeom prst="rect">
            <a:avLst/>
          </a:prstGeom>
        </p:spPr>
      </p:pic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4006C801-40A7-9ACB-80D4-8E62B93F5C56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435919" y="1703388"/>
            <a:ext cx="4819263" cy="4475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4D3C7D9-4E72-8ADC-703A-EAD3B240B4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55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B23CC11-F41D-7E8F-7258-4EAC72C1B2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55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E303BFB7-8ACE-2287-9584-48CDD88E440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41779" y="1721224"/>
            <a:ext cx="2534782" cy="916901"/>
          </a:xfrm>
        </p:spPr>
        <p:txBody>
          <a:bodyPr anchor="ctr" anchorCtr="0">
            <a:normAutofit/>
          </a:bodyPr>
          <a:lstStyle>
            <a:lvl1pPr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3F6FA235-5D7C-D834-40F0-3B66C3F4E1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41779" y="2638125"/>
            <a:ext cx="2534782" cy="3540425"/>
          </a:xfrm>
        </p:spPr>
        <p:txBody>
          <a:bodyPr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aragraph text here. Stay within the text box. Increase or decrease font size as needed.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B6D2D9B-9F2F-6D19-AF9E-4D014D07A3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325" y="6356350"/>
            <a:ext cx="8009618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39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and white logo&#10;&#10;Description automatically generated">
            <a:extLst>
              <a:ext uri="{FF2B5EF4-FFF2-40B4-BE49-F238E27FC236}">
                <a16:creationId xmlns:a16="http://schemas.microsoft.com/office/drawing/2014/main" id="{D1227B57-0955-D5A3-593A-25539929B8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05609"/>
            <a:ext cx="2656029" cy="164141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7D0D1CF-2D6B-E135-5965-6E3981114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980484"/>
            <a:ext cx="4781888" cy="2198065"/>
          </a:xfrm>
        </p:spPr>
        <p:txBody>
          <a:bodyPr anchor="ctr" anchorCtr="0">
            <a:noAutofit/>
          </a:bodyPr>
          <a:lstStyle>
            <a:lvl1pPr algn="l">
              <a:defRPr sz="7200"/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C8EB0DA-4551-0F6C-380D-A305185930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4603147"/>
            <a:ext cx="4137498" cy="54086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400" b="0" spc="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ADD CONTACT DETAILS HERE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696568-2129-24B0-76E9-68479D19A0B2}"/>
              </a:ext>
            </a:extLst>
          </p:cNvPr>
          <p:cNvGrpSpPr/>
          <p:nvPr userDrawn="1"/>
        </p:nvGrpSpPr>
        <p:grpSpPr>
          <a:xfrm rot="5400000">
            <a:off x="4552580" y="4752246"/>
            <a:ext cx="2341052" cy="511554"/>
            <a:chOff x="423392" y="2983348"/>
            <a:chExt cx="2341052" cy="51155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CE3E349-5EE1-981D-1DB3-7F2F3A3B5D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664836" y="2139517"/>
              <a:ext cx="0" cy="2199217"/>
            </a:xfrm>
            <a:prstGeom prst="line">
              <a:avLst/>
            </a:prstGeom>
            <a:ln w="9525">
              <a:gradFill>
                <a:gsLst>
                  <a:gs pos="35000">
                    <a:srgbClr val="48FF9B"/>
                  </a:gs>
                  <a:gs pos="100000">
                    <a:schemeClr val="accent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295E266-9267-5C23-2D92-EF314BD80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3392" y="2983348"/>
              <a:ext cx="1295432" cy="511554"/>
            </a:xfrm>
            <a:prstGeom prst="rect">
              <a:avLst/>
            </a:prstGeom>
          </p:spPr>
        </p:pic>
      </p:grpSp>
      <p:sp>
        <p:nvSpPr>
          <p:cNvPr id="20" name="Text Placeholder 46">
            <a:extLst>
              <a:ext uri="{FF2B5EF4-FFF2-40B4-BE49-F238E27FC236}">
                <a16:creationId xmlns:a16="http://schemas.microsoft.com/office/drawing/2014/main" id="{6E3ABDB7-9495-F9DE-DC8B-7ACA3F1D60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5234115"/>
            <a:ext cx="413749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more detail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1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D3EB4A-1431-1665-96CD-C66C2948D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039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E637479-6951-ED17-3908-7817BFE68D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1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74F76FD-3B3C-F469-DEA3-C503C38737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518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3ACF3-802A-DBF1-0BCF-5BFE3F583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green and white logo&#10;&#10;Description automatically generated">
            <a:extLst>
              <a:ext uri="{FF2B5EF4-FFF2-40B4-BE49-F238E27FC236}">
                <a16:creationId xmlns:a16="http://schemas.microsoft.com/office/drawing/2014/main" id="{7B752595-9AFD-0A39-8506-261D4CAD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3D024D4-6933-A403-7056-4937494837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AB5E26E-21FF-BC33-73EE-486EE11CD8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12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37">
            <a:extLst>
              <a:ext uri="{FF2B5EF4-FFF2-40B4-BE49-F238E27FC236}">
                <a16:creationId xmlns:a16="http://schemas.microsoft.com/office/drawing/2014/main" id="{80686AD0-1CF7-BCB6-FBA4-4C61A99912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614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28A06EDB-E02F-295B-6A97-B530B0805C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9614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5" name="Text Placeholder 37">
            <a:extLst>
              <a:ext uri="{FF2B5EF4-FFF2-40B4-BE49-F238E27FC236}">
                <a16:creationId xmlns:a16="http://schemas.microsoft.com/office/drawing/2014/main" id="{C5F0F427-0F46-4572-851A-0F471C1C5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19614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>
              <a:defRPr lang="en-GB" sz="1800" smtClean="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7F66A9-0375-0C36-14B6-DF3550A55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A green and white logo&#10;&#10;Description automatically generated">
            <a:extLst>
              <a:ext uri="{FF2B5EF4-FFF2-40B4-BE49-F238E27FC236}">
                <a16:creationId xmlns:a16="http://schemas.microsoft.com/office/drawing/2014/main" id="{C3C38BE1-F840-F595-26B9-87082A0F26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9009" y="365126"/>
            <a:ext cx="526091" cy="325122"/>
          </a:xfrm>
          <a:prstGeom prst="rect">
            <a:avLst/>
          </a:prstGeom>
        </p:spPr>
      </p:pic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F9E879A-21B3-D3C1-813A-F6D5CDCA76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325" y="1891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151BAC4F-395F-D1B1-BE4F-23F4404234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325" y="3415144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9FBCA576-B80A-BC89-23D6-404505EEC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25" y="4950433"/>
            <a:ext cx="2335213" cy="666750"/>
          </a:xfrm>
          <a:prstGeom prst="roundRect">
            <a:avLst>
              <a:gd name="adj" fmla="val 500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en-GB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GB" sz="180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US" sz="180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BBA86B9-09E6-D0D5-B88B-CE7E31678B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04419" y="1839850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8" name="Text Placeholder 46">
            <a:extLst>
              <a:ext uri="{FF2B5EF4-FFF2-40B4-BE49-F238E27FC236}">
                <a16:creationId xmlns:a16="http://schemas.microsoft.com/office/drawing/2014/main" id="{54B9DB6E-B728-8A86-02AC-DCD65B3BE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04419" y="2212383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22DCAA7F-65C3-27A1-9B5B-BD4D0FF881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04419" y="3329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0" name="Text Placeholder 46">
            <a:extLst>
              <a:ext uri="{FF2B5EF4-FFF2-40B4-BE49-F238E27FC236}">
                <a16:creationId xmlns:a16="http://schemas.microsoft.com/office/drawing/2014/main" id="{51694562-952A-1800-9521-D7D9E28F139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419" y="3702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1" name="Text Placeholder 46">
            <a:extLst>
              <a:ext uri="{FF2B5EF4-FFF2-40B4-BE49-F238E27FC236}">
                <a16:creationId xmlns:a16="http://schemas.microsoft.com/office/drawing/2014/main" id="{40254814-8442-3DE5-5F4D-8423C8F64F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04419" y="4853983"/>
            <a:ext cx="1804988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2" name="Text Placeholder 46">
            <a:extLst>
              <a:ext uri="{FF2B5EF4-FFF2-40B4-BE49-F238E27FC236}">
                <a16:creationId xmlns:a16="http://schemas.microsoft.com/office/drawing/2014/main" id="{66FED2A1-6468-F3FF-2AD9-70283C4335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04419" y="5226516"/>
            <a:ext cx="1804988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3" name="Text Placeholder 46">
            <a:extLst>
              <a:ext uri="{FF2B5EF4-FFF2-40B4-BE49-F238E27FC236}">
                <a16:creationId xmlns:a16="http://schemas.microsoft.com/office/drawing/2014/main" id="{C68F025B-4D46-9FDC-384F-10A60DC64DD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8999" y="1839850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4" name="Text Placeholder 46">
            <a:extLst>
              <a:ext uri="{FF2B5EF4-FFF2-40B4-BE49-F238E27FC236}">
                <a16:creationId xmlns:a16="http://schemas.microsoft.com/office/drawing/2014/main" id="{C8B41C5D-9D7C-5726-5555-C1DC1272D6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8999" y="2212383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5" name="Text Placeholder 46">
            <a:extLst>
              <a:ext uri="{FF2B5EF4-FFF2-40B4-BE49-F238E27FC236}">
                <a16:creationId xmlns:a16="http://schemas.microsoft.com/office/drawing/2014/main" id="{F80DE9D6-A4DC-F771-2928-522687B2CB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8999" y="3329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6" name="Text Placeholder 46">
            <a:extLst>
              <a:ext uri="{FF2B5EF4-FFF2-40B4-BE49-F238E27FC236}">
                <a16:creationId xmlns:a16="http://schemas.microsoft.com/office/drawing/2014/main" id="{273DA242-B601-6648-3C13-04A0C75A5FB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8999" y="3702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7" name="Text Placeholder 46">
            <a:extLst>
              <a:ext uri="{FF2B5EF4-FFF2-40B4-BE49-F238E27FC236}">
                <a16:creationId xmlns:a16="http://schemas.microsoft.com/office/drawing/2014/main" id="{2C55B33F-A322-B783-36FB-68DD133009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8999" y="4853983"/>
            <a:ext cx="3236101" cy="341312"/>
          </a:xfrm>
        </p:spPr>
        <p:txBody>
          <a:bodyPr anchor="ctr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58" name="Text Placeholder 46">
            <a:extLst>
              <a:ext uri="{FF2B5EF4-FFF2-40B4-BE49-F238E27FC236}">
                <a16:creationId xmlns:a16="http://schemas.microsoft.com/office/drawing/2014/main" id="{E8161410-E23E-74FA-82DC-F6D2867D5A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58999" y="5226516"/>
            <a:ext cx="3236101" cy="511259"/>
          </a:xfrm>
        </p:spPr>
        <p:txBody>
          <a:bodyPr anchor="t" anchorCtr="0"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title he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9DDB41B-7F8F-97DD-9C4E-80C109EDB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6" y="365126"/>
            <a:ext cx="10258560" cy="536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7FF9429-3865-55E8-1C88-9822AA055ED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326" y="906463"/>
            <a:ext cx="10258560" cy="4175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add subheading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F4AD3F0-1F15-6283-800E-B3E8939708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8326" y="6356350"/>
            <a:ext cx="8009617" cy="367052"/>
          </a:xfrm>
        </p:spPr>
        <p:txBody>
          <a:bodyPr anchor="ctr" anchorCtr="0">
            <a:normAutofit/>
          </a:bodyPr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564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6" y="1993106"/>
            <a:ext cx="5803900" cy="2871788"/>
          </a:xfrm>
        </p:spPr>
        <p:txBody>
          <a:bodyPr anchor="ctr" anchorCtr="0">
            <a:noAutofit/>
          </a:bodyPr>
          <a:lstStyle>
            <a:lvl1pPr>
              <a:defRPr sz="4400" b="0"/>
            </a:lvl1pPr>
          </a:lstStyle>
          <a:p>
            <a:r>
              <a:rPr lang="en-GB" dirty="0"/>
              <a:t>Statement paragraph goes here. Keep text short. Use peppermint green to highligh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11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white logo&#10;&#10;Description automatically generated">
            <a:extLst>
              <a:ext uri="{FF2B5EF4-FFF2-40B4-BE49-F238E27FC236}">
                <a16:creationId xmlns:a16="http://schemas.microsoft.com/office/drawing/2014/main" id="{D11721E2-C686-A98F-C6FD-D964277D4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25" y="5717081"/>
            <a:ext cx="958395" cy="59228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6E85E84-E5E7-4A8A-A1F8-9A2E81B84A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325" y="3184574"/>
            <a:ext cx="11028363" cy="540565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GB" dirty="0"/>
              <a:t>Section break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502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7B11059-715D-1D50-23E9-9B25BE98D8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48350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7772400" imgH="10058400" progId="TCLayout.ActiveDocument.1">
                  <p:embed/>
                </p:oleObj>
              </mc:Choice>
              <mc:Fallback>
                <p:oleObj name="think-cell Slide" r:id="rId2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44997-2441-3549-C698-8272EB280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65126"/>
            <a:ext cx="11028363" cy="9284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F6727-82E5-B109-35FE-DFE80FEC2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8325" y="1438275"/>
            <a:ext cx="11028363" cy="4738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50CBE-35AF-B0A0-0258-B32CA8B8D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53488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7D3564-B138-614F-A05A-38C03EE90E0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48A4540-17A6-04FE-2466-6F9E058C43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5" y="6356350"/>
            <a:ext cx="7241082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45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77" r:id="rId3"/>
    <p:sldLayoutId id="2147483684" r:id="rId4"/>
    <p:sldLayoutId id="2147483685" r:id="rId5"/>
    <p:sldLayoutId id="2147483686" r:id="rId6"/>
    <p:sldLayoutId id="2147483666" r:id="rId7"/>
    <p:sldLayoutId id="2147483667" r:id="rId8"/>
    <p:sldLayoutId id="2147483656" r:id="rId9"/>
    <p:sldLayoutId id="2147483668" r:id="rId10"/>
    <p:sldLayoutId id="2147483661" r:id="rId11"/>
    <p:sldLayoutId id="2147483669" r:id="rId12"/>
    <p:sldLayoutId id="2147483660" r:id="rId13"/>
    <p:sldLayoutId id="2147483654" r:id="rId14"/>
    <p:sldLayoutId id="2147483670" r:id="rId15"/>
    <p:sldLayoutId id="2147483671" r:id="rId16"/>
    <p:sldLayoutId id="2147483672" r:id="rId17"/>
    <p:sldLayoutId id="2147483662" r:id="rId18"/>
    <p:sldLayoutId id="2147483673" r:id="rId19"/>
    <p:sldLayoutId id="2147483675" r:id="rId20"/>
    <p:sldLayoutId id="2147483674" r:id="rId21"/>
    <p:sldLayoutId id="2147483664" r:id="rId22"/>
    <p:sldLayoutId id="2147483676" r:id="rId23"/>
    <p:sldLayoutId id="2147483678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2250" indent="-21113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6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016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tabLst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2" userDrawn="1">
          <p15:clr>
            <a:srgbClr val="F26B43"/>
          </p15:clr>
        </p15:guide>
        <p15:guide id="2" pos="358" userDrawn="1">
          <p15:clr>
            <a:srgbClr val="F26B43"/>
          </p15:clr>
        </p15:guide>
        <p15:guide id="3" orient="horz" pos="218" userDrawn="1">
          <p15:clr>
            <a:srgbClr val="F26B43"/>
          </p15:clr>
        </p15:guide>
        <p15:guide id="4" pos="7305" userDrawn="1">
          <p15:clr>
            <a:srgbClr val="F26B43"/>
          </p15:clr>
        </p15:guide>
        <p15:guide id="5" orient="horz" pos="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.xml"/><Relationship Id="rId4" Type="http://schemas.openxmlformats.org/officeDocument/2006/relationships/image" Target="../media/image2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2DB4C76C-B0DB-ECCB-AE79-254B14FB2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  <a:cs typeface="Futura Medium" panose="020B0602020204020303" pitchFamily="34" charset="-79"/>
              </a:rPr>
              <a:t>Decision Theory and Large Language Models</a:t>
            </a:r>
          </a:p>
        </p:txBody>
      </p:sp>
    </p:spTree>
    <p:extLst>
      <p:ext uri="{BB962C8B-B14F-4D97-AF65-F5344CB8AC3E}">
        <p14:creationId xmlns:p14="http://schemas.microsoft.com/office/powerpoint/2010/main" val="30539838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Reflections from the other da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1843" y="5977776"/>
            <a:ext cx="1341030" cy="417512"/>
          </a:xfrm>
        </p:spPr>
        <p:txBody>
          <a:bodyPr>
            <a:normAutofit/>
          </a:bodyPr>
          <a:lstStyle/>
          <a:p>
            <a:r>
              <a:rPr lang="en-US" sz="1200" dirty="0"/>
              <a:t>“Not crisp enough”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 descr="2,000+ Thinking Man Statue Stock Photos, Pictures &amp; Royalty-Free Images -  iStock | The thinker, Thinker, Philosophy">
            <a:extLst>
              <a:ext uri="{FF2B5EF4-FFF2-40B4-BE49-F238E27FC236}">
                <a16:creationId xmlns:a16="http://schemas.microsoft.com/office/drawing/2014/main" id="{A6A3250C-72B6-AC4D-045B-05A06734E5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126" y="1554353"/>
            <a:ext cx="6233747" cy="415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3371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Reflections from the other da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6441" y="1629103"/>
            <a:ext cx="9928810" cy="3794235"/>
          </a:xfrm>
        </p:spPr>
        <p:txBody>
          <a:bodyPr>
            <a:normAutofit fontScale="92500" lnSpcReduction="10000"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ecision theory provides a framework for making rational decisions under uncertainty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ome </a:t>
            </a:r>
            <a:r>
              <a:rPr lang="en-US" dirty="0" err="1"/>
              <a:t>Aily</a:t>
            </a:r>
            <a:r>
              <a:rPr lang="en-US" dirty="0"/>
              <a:t> problems are Decision Theory problems (e.g., Investment decisions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nlike ML problems, Decision Theory problems do not involve training data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ecision Theory problems are traditionally tackled using decision tree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ecision trees become computationally intractable with increasing numbers of variable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nfluence diagrams present a promising solution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LMs try to solve Decision Theory problems using decision tree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Both humans and LLMs should use influence diagrams instead of decision trees</a:t>
            </a:r>
          </a:p>
        </p:txBody>
      </p:sp>
    </p:spTree>
    <p:extLst>
      <p:ext uri="{BB962C8B-B14F-4D97-AF65-F5344CB8AC3E}">
        <p14:creationId xmlns:p14="http://schemas.microsoft.com/office/powerpoint/2010/main" val="39793087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16E3B-49E3-C2AC-1332-F6DFC1C9C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Back to </a:t>
            </a:r>
            <a:r>
              <a:rPr lang="en-US" b="0" dirty="0" err="1"/>
              <a:t>Jupyter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66616-1A5B-0A24-3C9E-15C283F3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D3564-B138-614F-A05A-38C03EE90E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F1EA20-3920-8351-A7FA-353E927C6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A6EADE-8683-C337-F139-12B9D345B8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8C0D93-B241-F945-4D87-C83F025C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DC8266-1137-8F69-61AC-9909A4BDB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517" y="1850483"/>
            <a:ext cx="6850966" cy="356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320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4A79DB1-0C7F-9312-232F-47237D3FA7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A79DB1-0C7F-9312-232F-47237D3F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40ADBE8-DB55-F55C-7A19-2DE2B2230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5" y="3980484"/>
            <a:ext cx="4781888" cy="2198065"/>
          </a:xfrm>
        </p:spPr>
        <p:txBody>
          <a:bodyPr vert="horz"/>
          <a:lstStyle/>
          <a:p>
            <a:r>
              <a:rPr lang="en-US" dirty="0"/>
              <a:t>Thank you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B791153-6CEA-F455-90D6-8422C899F8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603147"/>
            <a:ext cx="4137498" cy="540867"/>
          </a:xfrm>
        </p:spPr>
        <p:txBody>
          <a:bodyPr/>
          <a:lstStyle/>
          <a:p>
            <a:r>
              <a:rPr lang="en-US" dirty="0"/>
              <a:t>Fernando Rodríguez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7118F5-0B28-E2F4-4AD5-D6D323925F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5999" y="5234115"/>
            <a:ext cx="4137498" cy="511259"/>
          </a:xfrm>
        </p:spPr>
        <p:txBody>
          <a:bodyPr/>
          <a:lstStyle/>
          <a:p>
            <a:r>
              <a:rPr lang="en-US" dirty="0"/>
              <a:t>Vintage AI Enthusiast</a:t>
            </a:r>
          </a:p>
        </p:txBody>
      </p:sp>
    </p:spTree>
    <p:extLst>
      <p:ext uri="{BB962C8B-B14F-4D97-AF65-F5344CB8AC3E}">
        <p14:creationId xmlns:p14="http://schemas.microsoft.com/office/powerpoint/2010/main" val="2146634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3457"/>
      </a:dk2>
      <a:lt2>
        <a:srgbClr val="E7E6E6"/>
      </a:lt2>
      <a:accent1>
        <a:srgbClr val="53FF9B"/>
      </a:accent1>
      <a:accent2>
        <a:srgbClr val="30D3B6"/>
      </a:accent2>
      <a:accent3>
        <a:srgbClr val="FF3469"/>
      </a:accent3>
      <a:accent4>
        <a:srgbClr val="F29A2E"/>
      </a:accent4>
      <a:accent5>
        <a:srgbClr val="003457"/>
      </a:accent5>
      <a:accent6>
        <a:srgbClr val="03FFF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ily 2.0 master template_Arial_v3" id="{BE49CA13-4D96-104C-80B5-F8196024229C}" vid="{16FE305D-9EDB-2049-8BB3-CBCBDD988E8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063057d2-d988-451f-a701-4494506c04b3">
      <Terms xmlns="http://schemas.microsoft.com/office/infopath/2007/PartnerControls"/>
    </lcf76f155ced4ddcb4097134ff3c332f>
    <_ip_UnifiedCompliancePolicyProperties xmlns="http://schemas.microsoft.com/sharepoint/v3" xsi:nil="true"/>
    <TaxCatchAll xmlns="93efbeac-8291-46fc-a941-25108fdeb44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FBCF2F584E464D9AE5F173317F34AA" ma:contentTypeVersion="16" ma:contentTypeDescription="Create a new document." ma:contentTypeScope="" ma:versionID="cdb6f60c70d31995d412f636697f8ed8">
  <xsd:schema xmlns:xsd="http://www.w3.org/2001/XMLSchema" xmlns:xs="http://www.w3.org/2001/XMLSchema" xmlns:p="http://schemas.microsoft.com/office/2006/metadata/properties" xmlns:ns1="http://schemas.microsoft.com/sharepoint/v3" xmlns:ns2="93efbeac-8291-46fc-a941-25108fdeb44d" xmlns:ns3="063057d2-d988-451f-a701-4494506c04b3" targetNamespace="http://schemas.microsoft.com/office/2006/metadata/properties" ma:root="true" ma:fieldsID="8ca72e09457a641b769483520a59c70c" ns1:_="" ns2:_="" ns3:_="">
    <xsd:import namespace="http://schemas.microsoft.com/sharepoint/v3"/>
    <xsd:import namespace="93efbeac-8291-46fc-a941-25108fdeb44d"/>
    <xsd:import namespace="063057d2-d988-451f-a701-4494506c04b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efbeac-8291-46fc-a941-25108fdeb44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1179845-7499-422e-aeaf-65323ebe82bd}" ma:internalName="TaxCatchAll" ma:showField="CatchAllData" ma:web="93efbeac-8291-46fc-a941-25108fdeb4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057d2-d988-451f-a701-4494506c04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0abd710-f5a1-4eed-9dcb-8d5a28282c8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4DD4CF-E3A2-40FB-A883-2E42009DBB4A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063057d2-d988-451f-a701-4494506c04b3"/>
    <ds:schemaRef ds:uri="93efbeac-8291-46fc-a941-25108fdeb44d"/>
  </ds:schemaRefs>
</ds:datastoreItem>
</file>

<file path=customXml/itemProps2.xml><?xml version="1.0" encoding="utf-8"?>
<ds:datastoreItem xmlns:ds="http://schemas.openxmlformats.org/officeDocument/2006/customXml" ds:itemID="{0466F46A-7B56-4952-876F-A3309567F73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7D0B0B5-1AEB-4853-9F77-944680D8A6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3efbeac-8291-46fc-a941-25108fdeb44d"/>
    <ds:schemaRef ds:uri="063057d2-d988-451f-a701-4494506c04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37</TotalTime>
  <Words>121</Words>
  <Application>Microsoft Macintosh PowerPoint</Application>
  <PresentationFormat>Widescreen</PresentationFormat>
  <Paragraphs>1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System Font Regular</vt:lpstr>
      <vt:lpstr>Office Theme</vt:lpstr>
      <vt:lpstr>think-cell Slide</vt:lpstr>
      <vt:lpstr>Decision Theory and Large Language Models</vt:lpstr>
      <vt:lpstr>Reflections from the other day…</vt:lpstr>
      <vt:lpstr>Reflections from the other day…</vt:lpstr>
      <vt:lpstr>Back to Jupyter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ernando Rodriguez sanchez</dc:creator>
  <cp:lastModifiedBy>Fernando Rodriguez sanchez</cp:lastModifiedBy>
  <cp:revision>3</cp:revision>
  <dcterms:created xsi:type="dcterms:W3CDTF">2024-06-20T07:38:02Z</dcterms:created>
  <dcterms:modified xsi:type="dcterms:W3CDTF">2024-06-25T16:3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FBCF2F584E464D9AE5F173317F34AA</vt:lpwstr>
  </property>
</Properties>
</file>